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9" autoAdjust="0"/>
    <p:restoredTop sz="94660"/>
  </p:normalViewPr>
  <p:slideViewPr>
    <p:cSldViewPr snapToGrid="0">
      <p:cViewPr varScale="1">
        <p:scale>
          <a:sx n="75" d="100"/>
          <a:sy n="75" d="100"/>
        </p:scale>
        <p:origin x="56" y="19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88C04-EB03-4918-A803-FCF199197F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687D1D-5C63-4A74-842C-DC8B45F344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D29D3-C585-4AA5-9FD6-9660470DA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B7F5A2-8175-48AE-9167-F5D05A734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C0022-5535-4910-A4AD-2A5C9EA66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14180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55A40-C854-45EF-9EBB-A63DFA915F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2A6F87-8A14-4712-BDD7-A99332B2ED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9538D0-7CCC-403E-9C35-B887AE1FA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D40A42-3DF4-4C75-AA80-CBA90FBBA0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67ED3B-8747-4CF8-9BD3-66E8F1353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95418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4CB47C5-7EC8-4182-8659-A9E9AA5C54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705B6D-4208-48D1-AF95-8CA03E6AB3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4E8DD1-0C1F-46C2-99AD-D5D934DF9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E80C5-7AA3-4407-975C-59E52EDA5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932C19-8969-4453-875E-7878FF5E1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13395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3A008-ACD8-4119-924F-132C7E853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CA4439-0971-44DD-891D-CB18E6A200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936527-80E4-4507-A12E-605E4AD218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312C19-0A4F-4AAA-9D29-1BB19C1C2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9EFD11-6183-4D09-AE04-3107A51BD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382257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D9BAE-D3B9-4F8F-AC00-2C78224D5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CFB873-AB1B-4776-A071-8AE5265D5C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434EB7-6807-46CC-B737-2F7783B28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C6ED5-DF04-4B33-8358-90E2B8EC1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96B082-A4D3-42FD-92F8-4A2C5FCF9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28382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769A19-B7B7-408C-A1B2-6F02EF650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8D8529-86B7-41F3-A2DE-9C4727FE2C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459D40-40E4-42F1-9E81-616B9DF0A8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A59EB0-5C59-4FFA-A2F3-DFA9C591F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16737D-9495-426A-912A-594E64BA6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F198E9-FC26-410F-944F-1654C8D54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16834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375EA-23E4-46FB-8CE7-F78015449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993615-B5A4-4709-8F9E-70E959F77B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6929F8-9D01-47EC-A8EE-1142815C6E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2C229B-D42C-4CD2-BF1A-375C340855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D9564E-E128-4ED1-9EAF-1AA161355C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55E2653-ADC7-4B50-923B-0BF2D345C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7AB7B3-A8DC-4BB1-8675-FDE19F45A4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7252B1D-CABA-4065-A56A-EBD629802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4617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94681-E2AD-4BF4-8868-E694B1EE2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3FC18A-8492-40AA-AB92-3ACB1D6A7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249F04-DA2D-45C5-90D9-3C0FC99D64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95F13E-593F-477B-8F36-EF73E4A88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12604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4F727C-E6C5-456E-A9EF-D5AEDF5E3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202DDC-A8AE-4293-BF32-ADED54C1D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6EF7F-90AC-4B8E-91A9-A46A0B385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97026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D0760-80F5-48D6-8EA4-01AC4F8BE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9A7B46-13FF-4518-BE27-A8ACB820AB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0EAB8E-2429-4721-84C5-8E284C3367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55CB9-330E-4331-B8E3-712F60145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147E8A-CDF4-41D7-80FA-3FB47BB3F4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6DE0FD-EC46-453B-A755-524BCB030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50724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B010D-FA1E-44BD-90AB-AD20F08DD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02512B-8DC0-4BBD-A766-F65C6636B4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0662DE-A42D-4A53-8981-D476B77DC4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84060A-D15B-4335-9291-23719044B0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42971F-EB1B-4D90-B827-786E0B00A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322D21-6D1B-4F42-9E1C-4B2B39D20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78876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B593FEE-8A05-422D-BC86-13B7A185F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4353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402" imgH="398" progId="TCLayout.ActiveDocument.1">
                  <p:embed/>
                </p:oleObj>
              </mc:Choice>
              <mc:Fallback>
                <p:oleObj name="think-cell Slide" r:id="rId16" imgW="402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BC0E841-F1BD-4710-B6F4-6203E26F78E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BD3BA8-AE44-4C8A-BA94-C8135C86C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E69E4A-AE3D-4293-825E-9E11DBFF94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58F72F-5EB6-433E-8C60-433F648F76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246A2-6E53-460E-9E3F-291964F76A9D}" type="datetimeFigureOut">
              <a:rPr lang="en-AU" smtClean="0"/>
              <a:t>8/01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050F4-DAAB-4FF4-864A-9568B3664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35E6B6-5999-401D-B0A4-927FE3E6C0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9AFD2-AA0B-4251-986F-3C8A9CA54B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51115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24B9CD-8E5A-4F7B-ABE0-6D1FD180A9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74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02" imgH="398" progId="TCLayout.ActiveDocument.1">
                  <p:embed/>
                </p:oleObj>
              </mc:Choice>
              <mc:Fallback>
                <p:oleObj name="think-cell Slide" r:id="rId4" imgW="402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D15FB31-36EE-43D5-B50D-860FA018F553}"/>
              </a:ext>
            </a:extLst>
          </p:cNvPr>
          <p:cNvSpPr txBox="1"/>
          <p:nvPr/>
        </p:nvSpPr>
        <p:spPr>
          <a:xfrm>
            <a:off x="3564467" y="-1862667"/>
            <a:ext cx="2525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Text box for easy copy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4F11EF-4949-4E29-BA54-854B099DC413}"/>
              </a:ext>
            </a:extLst>
          </p:cNvPr>
          <p:cNvSpPr txBox="1"/>
          <p:nvPr/>
        </p:nvSpPr>
        <p:spPr>
          <a:xfrm>
            <a:off x="3564467" y="-1354667"/>
            <a:ext cx="2525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>
                <a:solidFill>
                  <a:schemeClr val="bg1"/>
                </a:solidFill>
              </a:rPr>
              <a:t>Text box for easy copy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929A81-D532-49CE-8869-7769FDD1C349}"/>
              </a:ext>
            </a:extLst>
          </p:cNvPr>
          <p:cNvSpPr/>
          <p:nvPr/>
        </p:nvSpPr>
        <p:spPr>
          <a:xfrm>
            <a:off x="406400" y="491067"/>
            <a:ext cx="4656667" cy="3208866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Interactive Line graph</a:t>
            </a:r>
          </a:p>
          <a:p>
            <a:pPr algn="ctr"/>
            <a:endParaRPr lang="en-AU" dirty="0"/>
          </a:p>
          <a:p>
            <a:pPr algn="ctr"/>
            <a:r>
              <a:rPr lang="en-AU" dirty="0"/>
              <a:t>My portfolio total returns (incl. div)</a:t>
            </a:r>
          </a:p>
          <a:p>
            <a:pPr algn="ctr"/>
            <a:r>
              <a:rPr lang="en-AU" dirty="0"/>
              <a:t>Benchmark (ASX200)</a:t>
            </a:r>
          </a:p>
          <a:p>
            <a:pPr algn="ctr"/>
            <a:r>
              <a:rPr lang="en-AU" dirty="0"/>
              <a:t>Benchmark (Small Cap benchmark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E2C0D8-96C8-425F-ACE6-0102A170004C}"/>
              </a:ext>
            </a:extLst>
          </p:cNvPr>
          <p:cNvSpPr/>
          <p:nvPr/>
        </p:nvSpPr>
        <p:spPr>
          <a:xfrm>
            <a:off x="406399" y="3699933"/>
            <a:ext cx="4656667" cy="660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1m, 3m, 6m, YTD, 1yr, inception, Custo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7F2579-3139-4BEF-BE89-8AAB5F63060A}"/>
              </a:ext>
            </a:extLst>
          </p:cNvPr>
          <p:cNvSpPr/>
          <p:nvPr/>
        </p:nvSpPr>
        <p:spPr>
          <a:xfrm>
            <a:off x="5063066" y="491067"/>
            <a:ext cx="2065869" cy="38692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AU" dirty="0"/>
          </a:p>
          <a:p>
            <a:pPr algn="ctr"/>
            <a:r>
              <a:rPr lang="en-AU" dirty="0"/>
              <a:t>Returns as a %</a:t>
            </a:r>
          </a:p>
          <a:p>
            <a:endParaRPr lang="en-AU" dirty="0"/>
          </a:p>
          <a:p>
            <a:r>
              <a:rPr lang="en-AU" dirty="0"/>
              <a:t>1m = </a:t>
            </a:r>
          </a:p>
          <a:p>
            <a:r>
              <a:rPr lang="en-AU" dirty="0"/>
              <a:t>3m = </a:t>
            </a:r>
          </a:p>
          <a:p>
            <a:r>
              <a:rPr lang="en-AU" dirty="0"/>
              <a:t>6m = </a:t>
            </a:r>
          </a:p>
          <a:p>
            <a:r>
              <a:rPr lang="en-AU" dirty="0"/>
              <a:t>YTD = </a:t>
            </a:r>
          </a:p>
          <a:p>
            <a:r>
              <a:rPr lang="en-AU" dirty="0"/>
              <a:t>1yr = </a:t>
            </a:r>
          </a:p>
          <a:p>
            <a:r>
              <a:rPr lang="en-AU" dirty="0"/>
              <a:t>Inception = </a:t>
            </a:r>
          </a:p>
          <a:p>
            <a:r>
              <a:rPr lang="en-AU" dirty="0"/>
              <a:t>Custom =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7892B5-18C9-4961-9F51-62B8C7F5CC42}"/>
              </a:ext>
            </a:extLst>
          </p:cNvPr>
          <p:cNvSpPr/>
          <p:nvPr/>
        </p:nvSpPr>
        <p:spPr>
          <a:xfrm>
            <a:off x="406398" y="4360333"/>
            <a:ext cx="6722537" cy="198440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Table of all trad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E0D230-B838-43BA-9C66-6105A711ED75}"/>
              </a:ext>
            </a:extLst>
          </p:cNvPr>
          <p:cNvSpPr/>
          <p:nvPr/>
        </p:nvSpPr>
        <p:spPr>
          <a:xfrm>
            <a:off x="7391399" y="491067"/>
            <a:ext cx="4394201" cy="27432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Portfolio Overview</a:t>
            </a:r>
          </a:p>
          <a:p>
            <a:pPr algn="ctr"/>
            <a:endParaRPr lang="en-AU" dirty="0"/>
          </a:p>
          <a:p>
            <a:pPr algn="ctr"/>
            <a:r>
              <a:rPr lang="en-AU" dirty="0"/>
              <a:t>Top 10 | Bottom 10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BD4FAF-3374-4127-91BF-4E3A7467D18B}"/>
              </a:ext>
            </a:extLst>
          </p:cNvPr>
          <p:cNvSpPr/>
          <p:nvPr/>
        </p:nvSpPr>
        <p:spPr>
          <a:xfrm>
            <a:off x="7391399" y="5596467"/>
            <a:ext cx="4394201" cy="748268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Portfolio balan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2FED8F-B2C6-4DCE-95A4-4A6238DF5D4E}"/>
              </a:ext>
            </a:extLst>
          </p:cNvPr>
          <p:cNvSpPr/>
          <p:nvPr/>
        </p:nvSpPr>
        <p:spPr>
          <a:xfrm>
            <a:off x="7391399" y="3428999"/>
            <a:ext cx="4394201" cy="198440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Detailed portfolio drilldow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0F0B95-CD7E-48C7-9122-F085301066C4}"/>
              </a:ext>
            </a:extLst>
          </p:cNvPr>
          <p:cNvSpPr/>
          <p:nvPr/>
        </p:nvSpPr>
        <p:spPr>
          <a:xfrm>
            <a:off x="1557865" y="7237398"/>
            <a:ext cx="4766735" cy="1984401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dirty="0"/>
              <a:t>Data requir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Broker transactions (buys, sel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Dividends, distributions, stock spl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Price data</a:t>
            </a:r>
          </a:p>
        </p:txBody>
      </p:sp>
    </p:spTree>
    <p:extLst>
      <p:ext uri="{BB962C8B-B14F-4D97-AF65-F5344CB8AC3E}">
        <p14:creationId xmlns:p14="http://schemas.microsoft.com/office/powerpoint/2010/main" val="2325514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rQIhCKak22b61XMzdD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</TotalTime>
  <Words>97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b Jin</dc:creator>
  <cp:lastModifiedBy>Bob Jin</cp:lastModifiedBy>
  <cp:revision>3</cp:revision>
  <dcterms:created xsi:type="dcterms:W3CDTF">2020-01-08T12:47:06Z</dcterms:created>
  <dcterms:modified xsi:type="dcterms:W3CDTF">2020-01-08T13:54:49Z</dcterms:modified>
</cp:coreProperties>
</file>